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63C895ED-C874-4280-BBAB-0D61DCB639A3}">
          <p14:sldIdLst>
            <p14:sldId id="2147475173"/>
            <p14:sldId id="2147475174"/>
            <p14:sldId id="2147475175"/>
            <p14:sldId id="2147475176"/>
            <p14:sldId id="2147475177"/>
            <p14:sldId id="2147475178"/>
            <p14:sldId id="2147475179"/>
            <p14:sldId id="2147475180"/>
            <p14:sldId id="2147475181"/>
          </p14:sldIdLst>
        </p14:section>
        <p14:section name="Brackets By Sector" id="{31D2553C-C7AE-4C61-82DF-F95D0BE39924}">
          <p14:sldIdLst>
            <p14:sldId id="2147475182"/>
            <p14:sldId id="2147475183"/>
            <p14:sldId id="2147475184"/>
            <p14:sldId id="2147475185"/>
            <p14:sldId id="2147475186"/>
            <p14:sldId id="2147475187"/>
            <p14:sldId id="2147475188"/>
            <p14:sldId id="2147475189"/>
            <p14:sldId id="2147475190"/>
          </p14:sldIdLst>
        </p14:section>
        <p14:section name="Brackets By Segment" id="{7F394B52-6439-4570-9244-E32C1B17CAEB}">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5</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6328568368899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2085495007291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372056331154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56949327069272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93702103845681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c:v>
                </c:pt>
                <c:pt idx="3">
                  <c:v>0.99683834024362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4254709346856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71734443266597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48909765554824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0413012749260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8971118739434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799635254913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2140558623432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0228635553065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87405854542562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54413638048885</c:v>
                </c:pt>
                <c:pt idx="3">
                  <c:v>0.995045586361951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9767787839838</c:v>
                </c:pt>
                <c:pt idx="3">
                  <c:v>0.98914016669899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394875305366822</c:v>
                </c:pt>
                <c:pt idx="3">
                  <c:v>0.99806051246946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15225919026812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2177043541550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84495954888504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300804648343787</c:v>
                </c:pt>
                <c:pt idx="3">
                  <c:v>0.95699195351656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18030158262356</c:v>
                </c:pt>
                <c:pt idx="3">
                  <c:v>0.91181896919904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977731807671617</c:v>
                </c:pt>
                <c:pt idx="3">
                  <c:v>0.99202226819232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54413638048885</c:v>
                </c:pt>
                <c:pt idx="3">
                  <c:v>0.995045586361951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958531175922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9767787839838</c:v>
                </c:pt>
                <c:pt idx="3">
                  <c:v>0.98914016669899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394875305366822</c:v>
                </c:pt>
                <c:pt idx="3">
                  <c:v>0.99806051246946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1949007768307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9608307297728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300804648343787</c:v>
                </c:pt>
                <c:pt idx="3">
                  <c:v>0.95699195351656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18030158262356</c:v>
                </c:pt>
                <c:pt idx="3">
                  <c:v>0.91181896919904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977731807671617</c:v>
                </c:pt>
                <c:pt idx="3">
                  <c:v>0.99202226819232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839518770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45696590017229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4954413638048885</c:v>
                </c:pt>
                <c:pt idx="3">
                  <c:v>0.995045586361951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21572724597649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0859767787839838</c:v>
                </c:pt>
                <c:pt idx="3">
                  <c:v>0.98914016669899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5</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394875305366822</c:v>
                </c:pt>
                <c:pt idx="3">
                  <c:v>0.998060512469463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168102849873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7055189224631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74363382928485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300804648343787</c:v>
                </c:pt>
                <c:pt idx="3">
                  <c:v>0.95699195351656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443072860634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18030158262356</c:v>
                </c:pt>
                <c:pt idx="3">
                  <c:v>0.91181896919904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977731807671617</c:v>
                </c:pt>
                <c:pt idx="3">
                  <c:v>0.99202226819232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241834120155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0239852625584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5</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2448315282113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9907231898217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656322036053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c:v>
                </c:pt>
                <c:pt idx="3">
                  <c:v>0.99683834024362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9218134353886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2327927961734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331157249195105</c:v>
                </c:pt>
                <c:pt idx="3">
                  <c:v>0.9756673522100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0197535217091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1451983387469</c:v>
                </c:pt>
                <c:pt idx="3">
                  <c:v>0.99683834024362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2519092321619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43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20424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17637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80813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0596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5515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975367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5628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5318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7921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77105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7968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0748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9229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9168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3096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7622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8781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6791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418018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78436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83141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8289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960447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93106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6576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9170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24381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7313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1020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2199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355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5619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9276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2410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6584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3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